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4"/>
    <p:sldMasterId id="2147483801" r:id="rId5"/>
  </p:sldMasterIdLst>
  <p:notesMasterIdLst>
    <p:notesMasterId r:id="rId14"/>
  </p:notesMasterIdLst>
  <p:handoutMasterIdLst>
    <p:handoutMasterId r:id="rId15"/>
  </p:handoutMasterIdLst>
  <p:sldIdLst>
    <p:sldId id="260" r:id="rId6"/>
    <p:sldId id="401" r:id="rId7"/>
    <p:sldId id="413" r:id="rId8"/>
    <p:sldId id="403" r:id="rId9"/>
    <p:sldId id="411" r:id="rId10"/>
    <p:sldId id="412" r:id="rId11"/>
    <p:sldId id="414" r:id="rId12"/>
    <p:sldId id="415" r:id="rId13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667184"/>
    <a:srgbClr val="6671D9"/>
    <a:srgbClr val="F8FFF7"/>
    <a:srgbClr val="F7ECFF"/>
    <a:srgbClr val="040000"/>
    <a:srgbClr val="F8F9F7"/>
    <a:srgbClr val="92A2BD"/>
    <a:srgbClr val="DCE0E8"/>
    <a:srgbClr val="F76D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199" autoAdjust="0"/>
  </p:normalViewPr>
  <p:slideViewPr>
    <p:cSldViewPr snapToGrid="0" showGuides="1">
      <p:cViewPr varScale="1">
        <p:scale>
          <a:sx n="70" d="100"/>
          <a:sy n="70" d="100"/>
        </p:scale>
        <p:origin x="773" y="53"/>
      </p:cViewPr>
      <p:guideLst>
        <p:guide orient="horz" pos="4042"/>
        <p:guide pos="3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FAE2E504-CC13-42D4-A2FB-CDA3B2143F79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9750"/>
            <a:ext cx="2946400" cy="496888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56FBA7C6-43CC-47F9-AC1B-B086F129A0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4414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en-GB" smtClean="0"/>
              <a:pPr/>
              <a:t>28/01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79986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marL="359972" lvl="1" indent="-179986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marL="539959" lvl="2" indent="-179986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marL="719945" lvl="3" indent="-179986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marL="899931" lvl="4" indent="-179986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5423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5.xml"/><Relationship Id="rId7" Type="http://schemas.openxmlformats.org/officeDocument/2006/relationships/image" Target="../media/image1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7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9.xml"/><Relationship Id="rId7" Type="http://schemas.openxmlformats.org/officeDocument/2006/relationships/image" Target="../media/image1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1.xml"/><Relationship Id="rId7" Type="http://schemas.openxmlformats.org/officeDocument/2006/relationships/image" Target="../media/image1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.xml"/><Relationship Id="rId7" Type="http://schemas.openxmlformats.org/officeDocument/2006/relationships/image" Target="../media/image1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7.xml"/><Relationship Id="rId7" Type="http://schemas.openxmlformats.org/officeDocument/2006/relationships/image" Target="../media/image1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9.xml"/><Relationship Id="rId7" Type="http://schemas.openxmlformats.org/officeDocument/2006/relationships/image" Target="../media/image19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8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1.xml"/><Relationship Id="rId7" Type="http://schemas.openxmlformats.org/officeDocument/2006/relationships/image" Target="../media/image14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21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1" name="Textplatzhalt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634000"/>
            <a:ext cx="2677296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GB" noProof="0" dirty="0" smtClean="0"/>
              <a:t>Department | Date</a:t>
            </a:r>
            <a:endParaRPr lang="en-GB" noProof="0" dirty="0"/>
          </a:p>
        </p:txBody>
      </p:sp>
      <p:pic>
        <p:nvPicPr>
          <p:cNvPr id="16" name="Bild 7" descr="WortmarkeBMWGROUP Kopie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Single or </a:t>
            </a:r>
            <a:br>
              <a:rPr lang="en-GB" noProof="0" dirty="0" smtClean="0"/>
            </a:br>
            <a:r>
              <a:rPr lang="en-GB" noProof="0" dirty="0" smtClean="0"/>
              <a:t>Double-Line Headline.</a:t>
            </a:r>
            <a:endParaRPr lang="en-GB" noProof="0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Single or Double-line </a:t>
            </a:r>
            <a:r>
              <a:rPr lang="en-GB" noProof="0" dirty="0" err="1" smtClean="0"/>
              <a:t>Subheadline</a:t>
            </a:r>
            <a:r>
              <a:rPr lang="en-GB" noProof="0" dirty="0" smtClean="0"/>
              <a:t>.</a:t>
            </a:r>
            <a:endParaRPr lang="en-GB" noProof="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3" name="Bild 8" descr="BMWMINIRR_5fbg Kopie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38488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14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6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OrderNEXT UK &amp; IE Project Steering Committee | B1-UK | January 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830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9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77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1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GB" dirty="0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6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4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13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6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303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31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defTabSz="914377"/>
            <a:r>
              <a:rPr lang="en-GB" smtClean="0">
                <a:solidFill>
                  <a:srgbClr val="FFFFFF"/>
                </a:solidFill>
              </a:rPr>
              <a:t>OrderNEXT UK &amp; IE Project Steering Committee | B1-UK | January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259286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027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4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5" y="591774"/>
            <a:ext cx="5796281" cy="118928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99479" y="6096000"/>
            <a:ext cx="11582400" cy="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304800"/>
            <a:ext cx="12192000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1902" y="6444820"/>
            <a:ext cx="495300" cy="199819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304800" y="1827107"/>
            <a:ext cx="11582400" cy="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1524000" y="1818285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0480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45720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4876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5181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6096000" y="1827108"/>
            <a:ext cx="0" cy="42672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57912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4008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V="1">
            <a:off x="73152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 flipV="1">
            <a:off x="67056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flipV="1">
            <a:off x="76200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flipV="1">
            <a:off x="70104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flipV="1">
            <a:off x="8229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flipV="1">
            <a:off x="91440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flipV="1">
            <a:off x="8839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V="1">
            <a:off x="9448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flipV="1">
            <a:off x="9753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 flipV="1">
            <a:off x="54864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ooter Placeholder 3"/>
          <p:cNvSpPr txBox="1">
            <a:spLocks/>
          </p:cNvSpPr>
          <p:nvPr userDrawn="1"/>
        </p:nvSpPr>
        <p:spPr>
          <a:xfrm>
            <a:off x="304800" y="6114465"/>
            <a:ext cx="1051411" cy="182711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b="1" dirty="0" smtClean="0">
                <a:solidFill>
                  <a:srgbClr val="FFFFFF">
                    <a:alpha val="50000"/>
                  </a:srgbClr>
                </a:solidFill>
              </a:rPr>
              <a:t>Source: </a:t>
            </a:r>
            <a:r>
              <a:rPr lang="en-GB" sz="667" dirty="0" smtClean="0">
                <a:solidFill>
                  <a:srgbClr val="FFFFFF">
                    <a:alpha val="50000"/>
                  </a:srgbClr>
                </a:solidFill>
              </a:rPr>
              <a:t>If necessary</a:t>
            </a:r>
            <a:endParaRPr lang="en-GB" sz="667" dirty="0">
              <a:solidFill>
                <a:srgbClr val="FFFFFF">
                  <a:alpha val="50000"/>
                </a:srgbClr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304800" y="6644640"/>
            <a:ext cx="11811000" cy="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304800" y="6623269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01924" y="6278879"/>
            <a:ext cx="5730240" cy="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304800" y="6217919"/>
            <a:ext cx="0" cy="6096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11887200" y="6394875"/>
            <a:ext cx="0" cy="380647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V="1">
            <a:off x="7924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 flipV="1">
            <a:off x="8534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 flipV="1">
            <a:off x="10058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 userDrawn="1"/>
        </p:nvCxnSpPr>
        <p:spPr>
          <a:xfrm>
            <a:off x="304800" y="2133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304800" y="24384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>
            <a:off x="304800" y="2743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 userDrawn="1"/>
        </p:nvCxnSpPr>
        <p:spPr>
          <a:xfrm>
            <a:off x="299480" y="3349696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>
            <a:off x="299480" y="30480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>
            <a:off x="299480" y="3657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>
            <a:off x="299480" y="3962400"/>
            <a:ext cx="115824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299480" y="4872285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299480" y="4267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 userDrawn="1"/>
        </p:nvCxnSpPr>
        <p:spPr>
          <a:xfrm>
            <a:off x="299480" y="45720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 userDrawn="1"/>
        </p:nvCxnSpPr>
        <p:spPr>
          <a:xfrm>
            <a:off x="0" y="913553"/>
            <a:ext cx="12192000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flipV="1">
            <a:off x="304800" y="0"/>
            <a:ext cx="0" cy="1827107"/>
          </a:xfrm>
          <a:prstGeom prst="line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 userDrawn="1"/>
        </p:nvSpPr>
        <p:spPr>
          <a:xfrm>
            <a:off x="10972801" y="304801"/>
            <a:ext cx="910167" cy="61188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Do not place graphics here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0" y="0"/>
            <a:ext cx="304800" cy="304800"/>
          </a:xfrm>
          <a:prstGeom prst="rect">
            <a:avLst/>
          </a:prstGeom>
          <a:noFill/>
          <a:ln w="31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.25w</a:t>
            </a:r>
            <a:b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</a:br>
            <a: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.25h</a:t>
            </a:r>
            <a:endParaRPr lang="en-GB" sz="667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73" name="Straight Connector 72"/>
          <p:cNvCxnSpPr/>
          <p:nvPr userDrawn="1"/>
        </p:nvCxnSpPr>
        <p:spPr>
          <a:xfrm flipV="1">
            <a:off x="609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 userDrawn="1"/>
        </p:nvCxnSpPr>
        <p:spPr>
          <a:xfrm flipV="1">
            <a:off x="9144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 userDrawn="1"/>
        </p:nvCxnSpPr>
        <p:spPr>
          <a:xfrm flipV="1">
            <a:off x="1219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flipV="1">
            <a:off x="1828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flipV="1">
            <a:off x="2133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 userDrawn="1"/>
        </p:nvCxnSpPr>
        <p:spPr>
          <a:xfrm flipV="1">
            <a:off x="299961" y="1828800"/>
            <a:ext cx="0" cy="426720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 userDrawn="1"/>
        </p:nvCxnSpPr>
        <p:spPr>
          <a:xfrm flipV="1">
            <a:off x="243514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 userDrawn="1"/>
        </p:nvCxnSpPr>
        <p:spPr>
          <a:xfrm flipV="1">
            <a:off x="2743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 userDrawn="1"/>
        </p:nvCxnSpPr>
        <p:spPr>
          <a:xfrm flipV="1">
            <a:off x="3657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 userDrawn="1"/>
        </p:nvCxnSpPr>
        <p:spPr>
          <a:xfrm flipV="1">
            <a:off x="42672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 userDrawn="1"/>
        </p:nvCxnSpPr>
        <p:spPr>
          <a:xfrm flipV="1">
            <a:off x="3962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 userDrawn="1"/>
        </p:nvCxnSpPr>
        <p:spPr>
          <a:xfrm flipV="1">
            <a:off x="3352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 userDrawn="1"/>
        </p:nvCxnSpPr>
        <p:spPr>
          <a:xfrm flipV="1">
            <a:off x="103632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 userDrawn="1"/>
        </p:nvCxnSpPr>
        <p:spPr>
          <a:xfrm flipV="1">
            <a:off x="11887200" y="1828800"/>
            <a:ext cx="0" cy="426720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 userDrawn="1"/>
        </p:nvCxnSpPr>
        <p:spPr>
          <a:xfrm flipV="1">
            <a:off x="106680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 userDrawn="1"/>
        </p:nvCxnSpPr>
        <p:spPr>
          <a:xfrm flipV="1">
            <a:off x="10972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 userDrawn="1"/>
        </p:nvCxnSpPr>
        <p:spPr>
          <a:xfrm flipV="1">
            <a:off x="115824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 userDrawn="1"/>
        </p:nvCxnSpPr>
        <p:spPr>
          <a:xfrm flipV="1">
            <a:off x="11277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 userDrawn="1"/>
        </p:nvCxnSpPr>
        <p:spPr>
          <a:xfrm>
            <a:off x="304800" y="5181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>
            <a:off x="304800" y="5791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>
            <a:off x="304800" y="54864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 userDrawn="1"/>
        </p:nvCxnSpPr>
        <p:spPr>
          <a:xfrm>
            <a:off x="304799" y="1570299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>
          <a:xfrm>
            <a:off x="304800" y="1219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 userDrawn="1"/>
        </p:nvCxnSpPr>
        <p:spPr>
          <a:xfrm>
            <a:off x="304800" y="609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02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cxnSp>
        <p:nvCxnSpPr>
          <p:cNvPr id="103" name="Straight Connector 102"/>
          <p:cNvCxnSpPr/>
          <p:nvPr userDrawn="1"/>
        </p:nvCxnSpPr>
        <p:spPr>
          <a:xfrm>
            <a:off x="755904" y="6623264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 userDrawn="1"/>
        </p:nvCxnSpPr>
        <p:spPr>
          <a:xfrm>
            <a:off x="2584704" y="6623264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 userDrawn="1"/>
        </p:nvSpPr>
        <p:spPr>
          <a:xfrm>
            <a:off x="304800" y="64507"/>
            <a:ext cx="383613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unit of measure .25 to make it easier to align graphs to grid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314117" y="972783"/>
            <a:ext cx="425788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Changed head structure to align with our need to consistent head structure/storyline development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7467366" y="6427686"/>
            <a:ext cx="383613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algn="r"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Added logo and boilerplate information as required [automated date] 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6" name="Picture 10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34816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244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7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 flipH="1">
            <a:off x="1" y="0"/>
            <a:ext cx="6101081" cy="68580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5" y="591774"/>
            <a:ext cx="5796281" cy="118928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99479" y="6096000"/>
            <a:ext cx="11582400" cy="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304800"/>
            <a:ext cx="12192000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1902" y="6444820"/>
            <a:ext cx="495300" cy="199819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304800" y="1827107"/>
            <a:ext cx="11582400" cy="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1524000" y="1818285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0480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45720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4876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5181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6096000" y="1827108"/>
            <a:ext cx="0" cy="42672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57912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4008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V="1">
            <a:off x="73152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 flipV="1">
            <a:off x="67056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flipV="1">
            <a:off x="76200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flipV="1">
            <a:off x="70104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flipV="1">
            <a:off x="8229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flipV="1">
            <a:off x="91440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flipV="1">
            <a:off x="8839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V="1">
            <a:off x="9448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flipV="1">
            <a:off x="9753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 flipV="1">
            <a:off x="5486400" y="1827108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338667" y="6644639"/>
            <a:ext cx="11811000" cy="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304800" y="6623269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01924" y="6278879"/>
            <a:ext cx="5730240" cy="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304800" y="6217919"/>
            <a:ext cx="0" cy="60960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11887200" y="6394875"/>
            <a:ext cx="0" cy="380647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V="1">
            <a:off x="79248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 flipV="1">
            <a:off x="8534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 flipV="1">
            <a:off x="10058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 userDrawn="1"/>
        </p:nvCxnSpPr>
        <p:spPr>
          <a:xfrm>
            <a:off x="304800" y="2133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304800" y="24384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>
            <a:off x="304800" y="2743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 userDrawn="1"/>
        </p:nvCxnSpPr>
        <p:spPr>
          <a:xfrm>
            <a:off x="299480" y="3349696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>
            <a:off x="299480" y="30480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>
            <a:off x="299480" y="3657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>
            <a:off x="299480" y="3962400"/>
            <a:ext cx="115824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299480" y="4872285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299480" y="4267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 userDrawn="1"/>
        </p:nvCxnSpPr>
        <p:spPr>
          <a:xfrm>
            <a:off x="299480" y="45720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 userDrawn="1"/>
        </p:nvCxnSpPr>
        <p:spPr>
          <a:xfrm>
            <a:off x="0" y="913553"/>
            <a:ext cx="12192000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flipV="1">
            <a:off x="304800" y="0"/>
            <a:ext cx="0" cy="1827107"/>
          </a:xfrm>
          <a:prstGeom prst="line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 userDrawn="1"/>
        </p:nvSpPr>
        <p:spPr>
          <a:xfrm>
            <a:off x="10972801" y="304801"/>
            <a:ext cx="910167" cy="61188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Do not place graphics here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0" y="0"/>
            <a:ext cx="304800" cy="304800"/>
          </a:xfrm>
          <a:prstGeom prst="rect">
            <a:avLst/>
          </a:prstGeom>
          <a:noFill/>
          <a:ln w="31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.25w</a:t>
            </a:r>
            <a:b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</a:br>
            <a:r>
              <a:rPr lang="en-GB" sz="667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.25h</a:t>
            </a:r>
            <a:endParaRPr lang="en-GB" sz="667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73" name="Straight Connector 72"/>
          <p:cNvCxnSpPr/>
          <p:nvPr userDrawn="1"/>
        </p:nvCxnSpPr>
        <p:spPr>
          <a:xfrm flipV="1">
            <a:off x="6096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 userDrawn="1"/>
        </p:nvCxnSpPr>
        <p:spPr>
          <a:xfrm flipV="1">
            <a:off x="9144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 userDrawn="1"/>
        </p:nvCxnSpPr>
        <p:spPr>
          <a:xfrm flipV="1">
            <a:off x="1219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flipV="1">
            <a:off x="1828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flipV="1">
            <a:off x="2133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 userDrawn="1"/>
        </p:nvCxnSpPr>
        <p:spPr>
          <a:xfrm flipV="1">
            <a:off x="299961" y="1828800"/>
            <a:ext cx="0" cy="426720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 userDrawn="1"/>
        </p:nvCxnSpPr>
        <p:spPr>
          <a:xfrm flipV="1">
            <a:off x="243514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 userDrawn="1"/>
        </p:nvCxnSpPr>
        <p:spPr>
          <a:xfrm flipV="1">
            <a:off x="27432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 userDrawn="1"/>
        </p:nvCxnSpPr>
        <p:spPr>
          <a:xfrm flipV="1">
            <a:off x="3657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 userDrawn="1"/>
        </p:nvCxnSpPr>
        <p:spPr>
          <a:xfrm flipV="1">
            <a:off x="42672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 userDrawn="1"/>
        </p:nvCxnSpPr>
        <p:spPr>
          <a:xfrm flipV="1">
            <a:off x="39624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 userDrawn="1"/>
        </p:nvCxnSpPr>
        <p:spPr>
          <a:xfrm flipV="1">
            <a:off x="3352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 userDrawn="1"/>
        </p:nvCxnSpPr>
        <p:spPr>
          <a:xfrm flipV="1">
            <a:off x="103632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 userDrawn="1"/>
        </p:nvCxnSpPr>
        <p:spPr>
          <a:xfrm flipV="1">
            <a:off x="11887200" y="1828800"/>
            <a:ext cx="0" cy="4267200"/>
          </a:xfrm>
          <a:prstGeom prst="line">
            <a:avLst/>
          </a:prstGeom>
          <a:ln w="3175" cap="rnd">
            <a:solidFill>
              <a:srgbClr val="FFE23D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 userDrawn="1"/>
        </p:nvCxnSpPr>
        <p:spPr>
          <a:xfrm flipV="1">
            <a:off x="106680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 userDrawn="1"/>
        </p:nvCxnSpPr>
        <p:spPr>
          <a:xfrm flipV="1">
            <a:off x="109728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 userDrawn="1"/>
        </p:nvCxnSpPr>
        <p:spPr>
          <a:xfrm flipV="1">
            <a:off x="115824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 userDrawn="1"/>
        </p:nvCxnSpPr>
        <p:spPr>
          <a:xfrm flipV="1">
            <a:off x="11277600" y="1828800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 userDrawn="1"/>
        </p:nvCxnSpPr>
        <p:spPr>
          <a:xfrm>
            <a:off x="304800" y="5181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>
            <a:off x="304800" y="5791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>
            <a:off x="304800" y="54864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 userDrawn="1"/>
        </p:nvCxnSpPr>
        <p:spPr>
          <a:xfrm>
            <a:off x="304799" y="1570299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>
          <a:xfrm>
            <a:off x="304800" y="12192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 userDrawn="1"/>
        </p:nvCxnSpPr>
        <p:spPr>
          <a:xfrm>
            <a:off x="304800" y="609600"/>
            <a:ext cx="11582400" cy="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 userDrawn="1"/>
        </p:nvCxnSpPr>
        <p:spPr>
          <a:xfrm>
            <a:off x="755904" y="6623264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 userDrawn="1"/>
        </p:nvCxnSpPr>
        <p:spPr>
          <a:xfrm>
            <a:off x="2584704" y="6623264"/>
            <a:ext cx="0" cy="76129"/>
          </a:xfrm>
          <a:prstGeom prst="line">
            <a:avLst/>
          </a:prstGeom>
          <a:ln w="3175">
            <a:solidFill>
              <a:srgbClr val="6892E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 userDrawn="1"/>
        </p:nvSpPr>
        <p:spPr>
          <a:xfrm>
            <a:off x="304800" y="64507"/>
            <a:ext cx="383613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Changed unit of measure to .25 to make it easier to align graphs to grid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314117" y="972783"/>
            <a:ext cx="425788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Changed head structure to align with our need to consistent head structure/storyline development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7467366" y="6427686"/>
            <a:ext cx="3836133" cy="234087"/>
          </a:xfrm>
          <a:prstGeom prst="rect">
            <a:avLst/>
          </a:prstGeom>
          <a:noFill/>
          <a:ln>
            <a:noFill/>
          </a:ln>
        </p:spPr>
        <p:txBody>
          <a:bodyPr wrap="square" lIns="60960" rIns="60960" rtlCol="0">
            <a:noAutofit/>
          </a:bodyPr>
          <a:lstStyle/>
          <a:p>
            <a:pPr algn="r" defTabSz="914377"/>
            <a:r>
              <a:rPr lang="en-GB" sz="667" b="1" dirty="0" smtClean="0">
                <a:solidFill>
                  <a:srgbClr val="DB2663">
                    <a:lumMod val="60000"/>
                    <a:lumOff val="40000"/>
                  </a:srgbClr>
                </a:solidFill>
              </a:rPr>
              <a:t>Added logo and boilerplate information as required [automated date] </a:t>
            </a:r>
            <a:endParaRPr lang="en-GB" sz="667" b="1" dirty="0">
              <a:solidFill>
                <a:srgbClr val="DB266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7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000000"/>
                </a:solidFill>
              </a:rPr>
              <a:pPr/>
              <a:t>‹#›</a:t>
            </a:fld>
            <a:endParaRPr lang="en-GB" sz="933" dirty="0">
              <a:solidFill>
                <a:srgbClr val="000000"/>
              </a:solidFill>
            </a:endParaRPr>
          </a:p>
        </p:txBody>
      </p:sp>
      <p:sp>
        <p:nvSpPr>
          <p:cNvPr id="118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  <a:noFill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000000">
                    <a:alpha val="5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000000">
                  <a:alpha val="50000"/>
                </a:srgbClr>
              </a:solidFill>
            </a:endParaRPr>
          </a:p>
        </p:txBody>
      </p:sp>
      <p:sp>
        <p:nvSpPr>
          <p:cNvPr id="119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000000">
                  <a:alpha val="50000"/>
                </a:srgbClr>
              </a:solidFill>
              <a:cs typeface="Arial" pitchFamily="34" charset="0"/>
            </a:endParaRPr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86" y="6555147"/>
            <a:ext cx="1477897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710134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4892" y="6137292"/>
            <a:ext cx="1159625" cy="361604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7" y="5634000"/>
            <a:ext cx="2600351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GB" noProof="0" dirty="0" smtClean="0"/>
              <a:t>Department | Date</a:t>
            </a:r>
            <a:endParaRPr lang="en-GB" noProof="0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Single or Double-Line Headline.</a:t>
            </a:r>
            <a:endParaRPr lang="en-GB" noProof="0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Single or Double-Line </a:t>
            </a:r>
            <a:r>
              <a:rPr lang="en-GB" noProof="0" dirty="0" err="1" smtClean="0"/>
              <a:t>Subheadline</a:t>
            </a:r>
            <a:r>
              <a:rPr lang="en-GB" noProof="0" dirty="0" smtClean="0"/>
              <a:t>.</a:t>
            </a:r>
            <a:endParaRPr lang="en-GB" noProof="0" dirty="0"/>
          </a:p>
        </p:txBody>
      </p:sp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38488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46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9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5" y="591773"/>
            <a:ext cx="5796281" cy="124790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2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1902" y="6444820"/>
            <a:ext cx="49530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2523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25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2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5" y="591773"/>
            <a:ext cx="3565316" cy="124790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1902" y="6444820"/>
            <a:ext cx="495300" cy="199819"/>
          </a:xfrm>
          <a:prstGeom prst="rect">
            <a:avLst/>
          </a:prstGeom>
        </p:spPr>
      </p:pic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2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 flipH="1">
            <a:off x="4266962" y="0"/>
            <a:ext cx="7925039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 flipV="1">
            <a:off x="4267200" y="-1"/>
            <a:ext cx="7924800" cy="183430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37223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141" y="6555147"/>
            <a:ext cx="1477921" cy="1219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1902" y="6444820"/>
            <a:ext cx="49530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26289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590471" y="6522888"/>
            <a:ext cx="1643519" cy="185816"/>
            <a:chOff x="1942853" y="4892166"/>
            <a:chExt cx="1232639" cy="139362"/>
          </a:xfrm>
        </p:grpSpPr>
        <p:sp>
          <p:nvSpPr>
            <p:cNvPr id="12" name="Footer Placeholder 3"/>
            <p:cNvSpPr txBox="1">
              <a:spLocks/>
            </p:cNvSpPr>
            <p:nvPr userDrawn="1"/>
          </p:nvSpPr>
          <p:spPr>
            <a:xfrm>
              <a:off x="1942853" y="4892166"/>
              <a:ext cx="773709" cy="137033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67" dirty="0" smtClean="0">
                  <a:solidFill>
                    <a:srgbClr val="FFFFFF">
                      <a:alpha val="60000"/>
                    </a:srgbClr>
                  </a:solidFill>
                </a:rPr>
                <a:t>© 2017 IBM Corporation</a:t>
              </a:r>
              <a:endParaRPr lang="en-GB" sz="667" dirty="0">
                <a:solidFill>
                  <a:srgbClr val="FFFFFF">
                    <a:alpha val="60000"/>
                  </a:srgbClr>
                </a:solidFill>
              </a:endParaRPr>
            </a:p>
          </p:txBody>
        </p:sp>
        <p:sp>
          <p:nvSpPr>
            <p:cNvPr id="13" name="Date Placeholder 2"/>
            <p:cNvSpPr txBox="1">
              <a:spLocks/>
            </p:cNvSpPr>
            <p:nvPr userDrawn="1"/>
          </p:nvSpPr>
          <p:spPr>
            <a:xfrm>
              <a:off x="2671148" y="4893544"/>
              <a:ext cx="504344" cy="137984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GB" sz="667" dirty="0" smtClean="0">
                  <a:solidFill>
                    <a:srgbClr val="FFFFFF">
                      <a:alpha val="60000"/>
                    </a:srgbClr>
                  </a:solidFill>
                  <a:cs typeface="Arial" pitchFamily="34" charset="0"/>
                </a:rPr>
                <a:t>   </a:t>
              </a:r>
              <a:fld id="{7C9968D1-C8E5-4FE3-AED4-7D4518C301B3}" type="datetime3">
                <a:rPr lang="en-GB" sz="667" smtClean="0">
                  <a:solidFill>
                    <a:srgbClr val="FFFFFF">
                      <a:alpha val="60000"/>
                    </a:srgbClr>
                  </a:solidFill>
                  <a:cs typeface="Arial" pitchFamily="34" charset="0"/>
                </a:rPr>
                <a:pPr>
                  <a:defRPr/>
                </a:pPr>
                <a:t>28 January, 2019</a:t>
              </a:fld>
              <a:endParaRPr lang="en-GB" sz="667" dirty="0">
                <a:solidFill>
                  <a:srgbClr val="FFFFFF">
                    <a:alpha val="60000"/>
                  </a:srgbClr>
                </a:solidFill>
                <a:cs typeface="Arial" pitchFamily="34" charset="0"/>
              </a:endParaRPr>
            </a:p>
          </p:txBody>
        </p:sp>
      </p:grp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469465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9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4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8288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95484" y="591773"/>
            <a:ext cx="11586395" cy="124790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76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000000"/>
                </a:solidFill>
              </a:rPr>
              <a:pPr/>
              <a:t>‹#›</a:t>
            </a:fld>
            <a:endParaRPr lang="en-GB" sz="933" dirty="0">
              <a:solidFill>
                <a:srgbClr val="000000"/>
              </a:solidFill>
            </a:endParaRPr>
          </a:p>
        </p:txBody>
      </p:sp>
      <p:sp>
        <p:nvSpPr>
          <p:cNvPr id="82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  <a:noFill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000000">
                    <a:alpha val="5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000000">
                  <a:alpha val="50000"/>
                </a:srgbClr>
              </a:solidFill>
            </a:endParaRPr>
          </a:p>
        </p:txBody>
      </p:sp>
      <p:sp>
        <p:nvSpPr>
          <p:cNvPr id="96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000000">
                  <a:alpha val="50000"/>
                </a:srgbClr>
              </a:solidFill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86" y="6555147"/>
            <a:ext cx="1477897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56403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50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6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4"/>
          <p:cNvSpPr txBox="1">
            <a:spLocks/>
          </p:cNvSpPr>
          <p:nvPr userDrawn="1"/>
        </p:nvSpPr>
        <p:spPr>
          <a:xfrm>
            <a:off x="0" y="1828800"/>
            <a:ext cx="3052235" cy="50292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lIns="3048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05" name="Text Placeholder 4"/>
          <p:cNvSpPr txBox="1">
            <a:spLocks/>
          </p:cNvSpPr>
          <p:nvPr userDrawn="1"/>
        </p:nvSpPr>
        <p:spPr>
          <a:xfrm>
            <a:off x="3052235" y="1828800"/>
            <a:ext cx="3048000" cy="5029200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82" name="Text Placeholder 4"/>
          <p:cNvSpPr txBox="1">
            <a:spLocks/>
          </p:cNvSpPr>
          <p:nvPr userDrawn="1"/>
        </p:nvSpPr>
        <p:spPr>
          <a:xfrm>
            <a:off x="6100235" y="1828800"/>
            <a:ext cx="3048000" cy="502920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67" dirty="0" smtClean="0">
              <a:solidFill>
                <a:srgbClr val="000000"/>
              </a:solidFill>
            </a:endParaRPr>
          </a:p>
          <a:p>
            <a:endParaRPr lang="en-GB" sz="1867" dirty="0">
              <a:solidFill>
                <a:srgbClr val="000000"/>
              </a:solidFill>
            </a:endParaRPr>
          </a:p>
        </p:txBody>
      </p:sp>
      <p:sp>
        <p:nvSpPr>
          <p:cNvPr id="96" name="Text Placeholder 8"/>
          <p:cNvSpPr txBox="1">
            <a:spLocks/>
          </p:cNvSpPr>
          <p:nvPr userDrawn="1"/>
        </p:nvSpPr>
        <p:spPr>
          <a:xfrm>
            <a:off x="9144000" y="1828800"/>
            <a:ext cx="3048000" cy="502920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67" dirty="0" smtClean="0">
              <a:solidFill>
                <a:srgbClr val="000000"/>
              </a:solidFill>
            </a:endParaRPr>
          </a:p>
          <a:p>
            <a:r>
              <a:rPr lang="en-GB" sz="1400" i="1" dirty="0" smtClean="0">
                <a:solidFill>
                  <a:srgbClr val="69A6FF"/>
                </a:solidFill>
              </a:rPr>
              <a:t/>
            </a:r>
            <a:br>
              <a:rPr lang="en-GB" sz="1400" i="1" dirty="0" smtClean="0">
                <a:solidFill>
                  <a:srgbClr val="69A6FF"/>
                </a:solidFill>
              </a:rPr>
            </a:b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5" y="591773"/>
            <a:ext cx="8816884" cy="1247904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36" name="Straight Connector 35"/>
          <p:cNvCxnSpPr/>
          <p:nvPr userDrawn="1"/>
        </p:nvCxnSpPr>
        <p:spPr>
          <a:xfrm flipV="1">
            <a:off x="9144000" y="1827107"/>
            <a:ext cx="0" cy="4267200"/>
          </a:xfrm>
          <a:prstGeom prst="line">
            <a:avLst/>
          </a:prstGeom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108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09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340488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FFSE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919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9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6" name="Rectangle 95"/>
          <p:cNvSpPr/>
          <p:nvPr userDrawn="1"/>
        </p:nvSpPr>
        <p:spPr>
          <a:xfrm>
            <a:off x="-5321" y="0"/>
            <a:ext cx="7934355" cy="6858000"/>
          </a:xfrm>
          <a:prstGeom prst="rect">
            <a:avLst/>
          </a:prstGeom>
          <a:solidFill>
            <a:schemeClr val="bg2"/>
          </a:solidFill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eaLnBrk="1"/>
            <a:endParaRPr lang="en-GB" sz="999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5484" y="591773"/>
            <a:ext cx="7328749" cy="1247904"/>
          </a:xfrm>
          <a:ln>
            <a:noFill/>
          </a:ln>
          <a:effectLst/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65" name="Text Placeholder 5"/>
          <p:cNvSpPr txBox="1">
            <a:spLocks/>
          </p:cNvSpPr>
          <p:nvPr userDrawn="1"/>
        </p:nvSpPr>
        <p:spPr>
          <a:xfrm>
            <a:off x="300359" y="102036"/>
            <a:ext cx="5411284" cy="365760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37160" indent="-13716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274320" indent="-137160" algn="l" defTabSz="4572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411480" indent="-137160" algn="l" defTabSz="4572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33" b="1" dirty="0" smtClean="0">
                <a:solidFill>
                  <a:srgbClr val="FFFFFF"/>
                </a:solidFill>
              </a:rPr>
              <a:t>Placement for section header if required. Arial 10b</a:t>
            </a:r>
            <a:endParaRPr lang="en-GB" sz="1333" b="1" dirty="0">
              <a:solidFill>
                <a:srgbClr val="FFFFFF"/>
              </a:solidFill>
            </a:endParaRPr>
          </a:p>
        </p:txBody>
      </p:sp>
      <p:sp>
        <p:nvSpPr>
          <p:cNvPr id="100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pic>
        <p:nvPicPr>
          <p:cNvPr id="101" name="Picture 10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904" y="6554102"/>
            <a:ext cx="1604048" cy="121807"/>
          </a:xfrm>
          <a:prstGeom prst="rect">
            <a:avLst/>
          </a:prstGeom>
          <a:effectLst/>
        </p:spPr>
      </p:pic>
      <p:sp>
        <p:nvSpPr>
          <p:cNvPr id="102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/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01037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FFSET_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69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1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35424" y="591773"/>
            <a:ext cx="7653213" cy="1247904"/>
          </a:xfrm>
          <a:ln>
            <a:noFill/>
          </a:ln>
          <a:effectLst/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cxnSp>
        <p:nvCxnSpPr>
          <p:cNvPr id="67" name="Straight Connector 66"/>
          <p:cNvCxnSpPr/>
          <p:nvPr userDrawn="1"/>
        </p:nvCxnSpPr>
        <p:spPr>
          <a:xfrm flipV="1">
            <a:off x="304800" y="0"/>
            <a:ext cx="0" cy="1827107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pic>
        <p:nvPicPr>
          <p:cNvPr id="101" name="Picture 10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904" y="6554102"/>
            <a:ext cx="1604048" cy="121807"/>
          </a:xfrm>
          <a:prstGeom prst="rect">
            <a:avLst/>
          </a:prstGeom>
          <a:effectLst/>
        </p:spPr>
      </p:pic>
      <p:sp>
        <p:nvSpPr>
          <p:cNvPr id="102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/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4266961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10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1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225925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r>
              <a:rPr lang="en-GB" dirty="0" smtClean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953599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38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4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133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FFFFFF"/>
                </a:solidFill>
              </a:rPr>
              <a:pPr/>
              <a:t>‹#›</a:t>
            </a:fld>
            <a:endParaRPr lang="en-GB" sz="933" dirty="0">
              <a:solidFill>
                <a:srgbClr val="FFFFFF"/>
              </a:solidFill>
            </a:endParaRPr>
          </a:p>
        </p:txBody>
      </p:sp>
      <p:sp>
        <p:nvSpPr>
          <p:cNvPr id="10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FFFFFF">
                    <a:alpha val="6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1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FFFFFF">
                    <a:alpha val="6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FFFFFF">
                  <a:alpha val="60000"/>
                </a:srgbClr>
              </a:solidFill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4" y="6555147"/>
            <a:ext cx="1477921" cy="1219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0"/>
            <a:ext cx="494840" cy="19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964150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dirty="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 cstate="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07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01</a:t>
            </a:r>
            <a:endParaRPr lang="en-GB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Chapter.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53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/>
          <a:lstStyle/>
          <a:p>
            <a:pPr defTabSz="914377"/>
            <a:fld id="{3FD999D4-B456-9943-89B7-30D56181CE18}" type="slidenum">
              <a:rPr lang="en-GB" smtClean="0">
                <a:solidFill>
                  <a:srgbClr val="000000"/>
                </a:solidFill>
              </a:rPr>
              <a:pPr defTabSz="914377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GB" smtClean="0">
                <a:solidFill>
                  <a:srgbClr val="000000"/>
                </a:solidFill>
              </a:rPr>
              <a:t>OrderNEXT UK &amp; IE Project Steering Committee | B1-UK | January 2019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676687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415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8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GB" dirty="0" smtClean="0"/>
              <a:t>Drag picture to placeholder or click icon to add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7733" y="548640"/>
            <a:ext cx="5486400" cy="853440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400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31" y="6444821"/>
            <a:ext cx="494840" cy="1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60030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692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1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 eaLnBrk="1"/>
            <a:endParaRPr lang="en-GB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/>
          <a:lstStyle/>
          <a:p>
            <a:pPr defTabSz="914377"/>
            <a:fld id="{3FD999D4-B456-9943-89B7-30D56181CE18}" type="slidenum">
              <a:rPr lang="en-GB" smtClean="0">
                <a:solidFill>
                  <a:srgbClr val="000000"/>
                </a:solidFill>
              </a:rPr>
              <a:pPr defTabSz="914377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GB" smtClean="0">
                <a:solidFill>
                  <a:srgbClr val="000000"/>
                </a:solidFill>
              </a:rPr>
              <a:t>OrderNEXT UK &amp; IE Project Steering Committee | B1-UK | January 2019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9797938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21" name="Slide Number Placeholder 2"/>
          <p:cNvSpPr txBox="1">
            <a:spLocks/>
          </p:cNvSpPr>
          <p:nvPr userDrawn="1"/>
        </p:nvSpPr>
        <p:spPr>
          <a:xfrm>
            <a:off x="304799" y="6507981"/>
            <a:ext cx="450091" cy="18271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D999D4-B456-9943-89B7-30D56181CE18}" type="slidenum">
              <a:rPr lang="en-GB" sz="933" smtClean="0">
                <a:solidFill>
                  <a:srgbClr val="000000"/>
                </a:solidFill>
              </a:rPr>
              <a:pPr/>
              <a:t>‹#›</a:t>
            </a:fld>
            <a:endParaRPr lang="en-GB" sz="933" dirty="0">
              <a:solidFill>
                <a:srgbClr val="000000"/>
              </a:solidFill>
            </a:endParaRPr>
          </a:p>
        </p:txBody>
      </p:sp>
      <p:sp>
        <p:nvSpPr>
          <p:cNvPr id="22" name="Footer Placeholder 3"/>
          <p:cNvSpPr txBox="1">
            <a:spLocks/>
          </p:cNvSpPr>
          <p:nvPr userDrawn="1"/>
        </p:nvSpPr>
        <p:spPr>
          <a:xfrm>
            <a:off x="2590471" y="6522889"/>
            <a:ext cx="1031612" cy="182711"/>
          </a:xfrm>
          <a:prstGeom prst="rect">
            <a:avLst/>
          </a:prstGeom>
          <a:noFill/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7" dirty="0" smtClean="0">
                <a:solidFill>
                  <a:srgbClr val="000000">
                    <a:alpha val="50000"/>
                  </a:srgbClr>
                </a:solidFill>
              </a:rPr>
              <a:t>© 2017 IBM Corporation</a:t>
            </a:r>
            <a:endParaRPr lang="en-GB" sz="667" dirty="0">
              <a:solidFill>
                <a:srgbClr val="000000">
                  <a:alpha val="50000"/>
                </a:srgbClr>
              </a:solidFill>
            </a:endParaRPr>
          </a:p>
        </p:txBody>
      </p:sp>
      <p:sp>
        <p:nvSpPr>
          <p:cNvPr id="23" name="Date Placeholder 2"/>
          <p:cNvSpPr txBox="1">
            <a:spLocks/>
          </p:cNvSpPr>
          <p:nvPr userDrawn="1"/>
        </p:nvSpPr>
        <p:spPr>
          <a:xfrm>
            <a:off x="3561531" y="6524725"/>
            <a:ext cx="672459" cy="18397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67" dirty="0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t>   </a:t>
            </a:r>
            <a:fld id="{7C9968D1-C8E5-4FE3-AED4-7D4518C301B3}" type="datetime3">
              <a:rPr lang="en-GB" sz="667" smtClean="0">
                <a:solidFill>
                  <a:srgbClr val="000000">
                    <a:alpha val="50000"/>
                  </a:srgbClr>
                </a:solidFill>
                <a:cs typeface="Arial" pitchFamily="34" charset="0"/>
              </a:rPr>
              <a:pPr>
                <a:defRPr/>
              </a:pPr>
              <a:t>28 January, 2019</a:t>
            </a:fld>
            <a:endParaRPr lang="en-GB" sz="667" dirty="0">
              <a:solidFill>
                <a:srgbClr val="000000">
                  <a:alpha val="50000"/>
                </a:srgbClr>
              </a:solidFill>
              <a:cs typeface="Arial" pitchFamily="34" charset="0"/>
            </a:endParaRPr>
          </a:p>
        </p:txBody>
      </p:sp>
      <p:sp>
        <p:nvSpPr>
          <p:cNvPr id="25" name="Text Placeholder 1"/>
          <p:cNvSpPr>
            <a:spLocks noGrp="1"/>
          </p:cNvSpPr>
          <p:nvPr>
            <p:ph sz="quarter" idx="4294967295"/>
          </p:nvPr>
        </p:nvSpPr>
        <p:spPr>
          <a:xfrm>
            <a:off x="0" y="2288033"/>
            <a:ext cx="12192000" cy="2292096"/>
          </a:xfrm>
          <a:solidFill>
            <a:schemeClr val="tx1"/>
          </a:solidFill>
        </p:spPr>
        <p:txBody>
          <a:bodyPr lIns="228600" anchor="ctr">
            <a:noAutofit/>
          </a:bodyPr>
          <a:lstStyle>
            <a:lvl1pPr eaLnBrk="1">
              <a:defRPr/>
            </a:lvl1pPr>
          </a:lstStyle>
          <a:p>
            <a:pPr lvl="0">
              <a:spcBef>
                <a:spcPts val="0"/>
              </a:spcBef>
            </a:pPr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86" y="6555147"/>
            <a:ext cx="1477897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651305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473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3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 err="1">
              <a:solidFill>
                <a:srgbClr val="FFFFFF"/>
              </a:solidFill>
              <a:latin typeface="IBM Plex Sans SemiBold"/>
              <a:cs typeface="Arial"/>
              <a:sym typeface="IBM Plex Sans SemiBold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/>
          <a:lstStyle/>
          <a:p>
            <a:pPr defTabSz="914377"/>
            <a:fld id="{3FD999D4-B456-9943-89B7-30D56181CE18}" type="slidenum">
              <a:rPr lang="en-GB" smtClean="0">
                <a:solidFill>
                  <a:srgbClr val="000000"/>
                </a:solidFill>
              </a:rPr>
              <a:pPr defTabSz="914377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GB" smtClean="0">
                <a:solidFill>
                  <a:srgbClr val="000000"/>
                </a:solidFill>
              </a:rPr>
              <a:t>OrderNEXT UK &amp; IE Project Steering Committee | B1-UK | January 2019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4658" y="2"/>
            <a:ext cx="12191999" cy="2012421"/>
          </a:xfrm>
          <a:noFill/>
        </p:spPr>
        <p:txBody>
          <a:bodyPr lIns="228600" tIns="201168" rIns="228600" bIns="228600"/>
          <a:lstStyle>
            <a:lvl1pPr>
              <a:defRPr sz="3200" b="1" i="0">
                <a:solidFill>
                  <a:schemeClr val="bg2"/>
                </a:solidFill>
                <a:latin typeface="IBM Plex Sans SemiBold" charset="0"/>
                <a:ea typeface="IBM Plex Sans SemiBold" charset="0"/>
                <a:cs typeface="IBM Plex Sans SemiBold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6509264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/>
          <a:lstStyle/>
          <a:p>
            <a:pPr defTabSz="914377"/>
            <a:fld id="{3FD999D4-B456-9943-89B7-30D56181CE18}" type="slidenum">
              <a:rPr lang="en-GB" smtClean="0">
                <a:solidFill>
                  <a:srgbClr val="000000"/>
                </a:solidFill>
              </a:rPr>
              <a:pPr defTabSz="914377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GB" smtClean="0">
                <a:solidFill>
                  <a:srgbClr val="000000"/>
                </a:solidFill>
              </a:rPr>
              <a:t>OrderNEXT UK &amp; IE Project Steering Committee | B1-UK | January 2019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243566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5" y="2914867"/>
            <a:ext cx="1870863" cy="69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1045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97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2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6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4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7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013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38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7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172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9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226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2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OrderNEXT UK &amp; IE Project Steering Committee | B1-UK | January 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542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GB" noProof="0" dirty="0" smtClean="0"/>
              <a:t>Click to edit Master title style.</a:t>
            </a:r>
            <a:br>
              <a:rPr lang="en-GB" noProof="0" dirty="0" smtClean="0"/>
            </a:br>
            <a:r>
              <a:rPr lang="en-GB" noProof="0" dirty="0" smtClean="0"/>
              <a:t>Second Line Lorem Ipsum.</a:t>
            </a:r>
            <a:endParaRPr lang="en-GB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GB" dirty="0" smtClean="0"/>
              <a:t>Click icon to add picture</a:t>
            </a:r>
            <a:endParaRPr lang="en-GB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image" Target="../media/image10.emf"/><Relationship Id="rId3" Type="http://schemas.openxmlformats.org/officeDocument/2006/relationships/slideLayout" Target="../slideLayouts/slideLayout1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oleObject" Target="../embeddings/oleObject15.bin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31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ags" Target="../tags/tag30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vmlDrawing" Target="../drawings/vmlDrawing15.v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853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rtl="0" eaLnBrk="1" fontAlgn="auto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  <a:ea typeface="+mn-ea"/>
              <a:cs typeface="+mn-cs"/>
              <a:sym typeface="BMW Group Condensed" panose="020B0606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GB" noProof="0" dirty="0" smtClean="0"/>
              <a:t>Page </a:t>
            </a:r>
            <a:fld id="{AA807A42-CF27-4B84-8583-18EBE418342E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21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5684105" y="6446338"/>
            <a:ext cx="834370" cy="310797"/>
          </a:xfrm>
          <a:prstGeom prst="rect">
            <a:avLst/>
          </a:prstGeom>
        </p:spPr>
      </p:pic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43517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01" name="think-cell Slide" r:id="rId25" imgW="338" imgH="338" progId="TCLayout.ActiveDocument.1">
                  <p:embed/>
                </p:oleObj>
              </mc:Choice>
              <mc:Fallback>
                <p:oleObj name="think-cell Slide" r:id="rId2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5684105" y="6446338"/>
            <a:ext cx="834370" cy="31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1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  <p:sldLayoutId id="2147483821" r:id="rId20"/>
  </p:sldLayoutIdLst>
  <p:transition spd="slow">
    <p:fade/>
  </p:transition>
  <p:hf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4" orient="horz" pos="813">
          <p15:clr>
            <a:srgbClr val="F26B43"/>
          </p15:clr>
        </p15:guide>
        <p15:guide id="5" orient="horz" pos="2022">
          <p15:clr>
            <a:srgbClr val="F26B43"/>
          </p15:clr>
        </p15:guide>
        <p15:guide id="6" orient="horz" pos="2426">
          <p15:clr>
            <a:srgbClr val="F26B43"/>
          </p15:clr>
        </p15:guide>
        <p15:guide id="7" orient="horz" pos="2829">
          <p15:clr>
            <a:srgbClr val="F26B43"/>
          </p15:clr>
        </p15:guide>
        <p15:guide id="8" pos="2880">
          <p15:clr>
            <a:srgbClr val="F26B43"/>
          </p15:clr>
        </p15:guide>
        <p15:guide id="9" pos="2736">
          <p15:clr>
            <a:srgbClr val="F26B43"/>
          </p15:clr>
        </p15:guide>
        <p15:guide id="10" pos="1584">
          <p15:clr>
            <a:srgbClr val="F26B43"/>
          </p15:clr>
        </p15:guide>
        <p15:guide id="11" pos="1440">
          <p15:clr>
            <a:srgbClr val="F26B43"/>
          </p15:clr>
        </p15:guide>
        <p15:guide id="12" pos="3024">
          <p15:clr>
            <a:srgbClr val="F26B43"/>
          </p15:clr>
        </p15:guide>
        <p15:guide id="13" pos="4320">
          <p15:clr>
            <a:srgbClr val="F26B43"/>
          </p15:clr>
        </p15:guide>
        <p15:guide id="14" pos="144">
          <p15:clr>
            <a:srgbClr val="F26B43"/>
          </p15:clr>
        </p15:guide>
        <p15:guide id="15" pos="5616">
          <p15:clr>
            <a:srgbClr val="F26B43"/>
          </p15:clr>
        </p15:guide>
        <p15:guide id="16" orient="horz" pos="142">
          <p15:clr>
            <a:srgbClr val="F26B43"/>
          </p15:clr>
        </p15:guide>
        <p15:guide id="17" pos="4176">
          <p15:clr>
            <a:srgbClr val="F26B43"/>
          </p15:clr>
        </p15:guide>
        <p15:guide id="18" pos="4464">
          <p15:clr>
            <a:srgbClr val="F26B43"/>
          </p15:clr>
        </p15:guide>
        <p15:guide id="19" orient="horz" pos="3098">
          <p15:clr>
            <a:srgbClr val="F26B43"/>
          </p15:clr>
        </p15:guide>
        <p15:guide id="20" orient="horz" pos="420">
          <p15:clr>
            <a:srgbClr val="F26B43"/>
          </p15:clr>
        </p15:guide>
        <p15:guide id="21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JP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062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 smtClean="0"/>
              <a:t>B1-UK-F-1, Date</a:t>
            </a:r>
            <a:endParaRPr lang="en-GB" dirty="0"/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9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82" b="12482"/>
          <a:stretch>
            <a:fillRect/>
          </a:stretch>
        </p:blipFill>
        <p:spPr/>
      </p:pic>
      <p:pic>
        <p:nvPicPr>
          <p:cNvPr id="4113" name="Picture 1" descr="image0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7375" y="-56572"/>
            <a:ext cx="12348000" cy="3151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3200" dirty="0" smtClean="0">
                <a:solidFill>
                  <a:schemeClr val="bg1"/>
                </a:solidFill>
              </a:rPr>
              <a:t>OrderNEXT UK &amp; IE Project</a:t>
            </a:r>
          </a:p>
          <a:p>
            <a:r>
              <a:rPr lang="en-GB" sz="3200" dirty="0" smtClean="0">
                <a:solidFill>
                  <a:schemeClr val="bg1"/>
                </a:solidFill>
              </a:rPr>
              <a:t>DevOps approach</a:t>
            </a:r>
            <a:endParaRPr lang="en-GB" sz="3200" dirty="0">
              <a:solidFill>
                <a:schemeClr val="bg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bg1"/>
                </a:solidFill>
              </a:rPr>
              <a:t>January 2019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31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173736"/>
            <a:ext cx="11224685" cy="329184"/>
          </a:xfrm>
        </p:spPr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What is DevOps ?</a:t>
            </a:r>
          </a:p>
          <a:p>
            <a:r>
              <a:rPr lang="en-GB" dirty="0" smtClean="0"/>
              <a:t>IIB </a:t>
            </a:r>
            <a:r>
              <a:rPr lang="en-GB" dirty="0"/>
              <a:t>CI </a:t>
            </a:r>
            <a:r>
              <a:rPr lang="en-GB" dirty="0" smtClean="0"/>
              <a:t>Demo  </a:t>
            </a:r>
          </a:p>
          <a:p>
            <a:r>
              <a:rPr lang="en-GB" dirty="0" smtClean="0"/>
              <a:t>IIB-deployment-process</a:t>
            </a:r>
          </a:p>
          <a:p>
            <a:r>
              <a:rPr lang="en-GB" dirty="0" smtClean="0"/>
              <a:t>Java-deployment-process</a:t>
            </a:r>
          </a:p>
          <a:p>
            <a:r>
              <a:rPr lang="en-GB" dirty="0"/>
              <a:t>Mainframe </a:t>
            </a:r>
            <a:r>
              <a:rPr lang="en-GB" dirty="0" smtClean="0"/>
              <a:t>DevOps plan</a:t>
            </a:r>
          </a:p>
          <a:p>
            <a:r>
              <a:rPr lang="en-GB" dirty="0" smtClean="0"/>
              <a:t>Brief on OpenStack</a:t>
            </a:r>
            <a:r>
              <a:rPr lang="en-GB" dirty="0"/>
              <a:t>, Bitbucket, </a:t>
            </a:r>
            <a:r>
              <a:rPr lang="en-GB" dirty="0" smtClean="0"/>
              <a:t>Jenkins </a:t>
            </a:r>
            <a:r>
              <a:rPr lang="en-GB" dirty="0" err="1" smtClean="0"/>
              <a:t>etc</a:t>
            </a:r>
            <a:endParaRPr lang="en-GB" dirty="0"/>
          </a:p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8483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4409" y="208925"/>
            <a:ext cx="11224685" cy="284851"/>
          </a:xfrm>
        </p:spPr>
        <p:txBody>
          <a:bodyPr/>
          <a:lstStyle/>
          <a:p>
            <a:r>
              <a:rPr lang="en-GB" dirty="0"/>
              <a:t>What is DevOps ?</a:t>
            </a:r>
          </a:p>
        </p:txBody>
      </p:sp>
      <p:pic>
        <p:nvPicPr>
          <p:cNvPr id="3" name="DevOps Pipelin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8949" y="585216"/>
            <a:ext cx="10703307" cy="5563617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64718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644" y="87646"/>
            <a:ext cx="11224685" cy="393193"/>
          </a:xfrm>
        </p:spPr>
        <p:txBody>
          <a:bodyPr/>
          <a:lstStyle/>
          <a:p>
            <a:r>
              <a:rPr lang="en-GB" dirty="0"/>
              <a:t>IIB CI Demo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29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29" y="100584"/>
            <a:ext cx="11375304" cy="387521"/>
          </a:xfrm>
        </p:spPr>
        <p:txBody>
          <a:bodyPr/>
          <a:lstStyle/>
          <a:p>
            <a:r>
              <a:rPr lang="en-GB" dirty="0"/>
              <a:t>IIB-deployment-proces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88948" y="850393"/>
            <a:ext cx="11224685" cy="5271008"/>
          </a:xfrm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5</a:t>
            </a:fld>
            <a:endParaRPr lang="en-GB" noProof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329" y="640080"/>
            <a:ext cx="9893808" cy="532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166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4" y="100584"/>
            <a:ext cx="11347873" cy="502920"/>
          </a:xfrm>
        </p:spPr>
        <p:txBody>
          <a:bodyPr/>
          <a:lstStyle/>
          <a:p>
            <a:r>
              <a:rPr lang="en-GB" dirty="0"/>
              <a:t>Java-deployment-proces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6</a:t>
            </a:fld>
            <a:endParaRPr lang="en-GB" noProof="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948" y="603504"/>
            <a:ext cx="7969252" cy="565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48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96" y="82296"/>
            <a:ext cx="11402737" cy="484632"/>
          </a:xfrm>
        </p:spPr>
        <p:txBody>
          <a:bodyPr/>
          <a:lstStyle/>
          <a:p>
            <a:r>
              <a:rPr lang="en-GB" dirty="0"/>
              <a:t>Mainframe DevOps </a:t>
            </a:r>
            <a:r>
              <a:rPr lang="en-GB" dirty="0" smtClean="0"/>
              <a:t>plan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28107" y="768096"/>
            <a:ext cx="11169049" cy="5353305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788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5" y="136873"/>
            <a:ext cx="11430168" cy="420912"/>
          </a:xfrm>
        </p:spPr>
        <p:txBody>
          <a:bodyPr/>
          <a:lstStyle/>
          <a:p>
            <a:r>
              <a:rPr lang="en-GB" dirty="0" smtClean="0"/>
              <a:t>OpenStack</a:t>
            </a:r>
            <a:r>
              <a:rPr lang="en-GB" dirty="0"/>
              <a:t>, Bitbucket, </a:t>
            </a:r>
            <a:r>
              <a:rPr lang="en-GB" smtClean="0"/>
              <a:t>Jenkins etc. </a:t>
            </a:r>
            <a:r>
              <a:rPr lang="en-GB" dirty="0" smtClean="0"/>
              <a:t>BRIEF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smtClean="0"/>
              <a:t>OrderNEXT UK &amp; IE Project Steering Committee | B1-UK | January 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noProof="0" smtClean="0"/>
              <a:t>Page </a:t>
            </a:r>
            <a:fld id="{AA807A42-CF27-4B84-8583-18EBE418342E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83465" y="1775152"/>
            <a:ext cx="11430167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QUESTION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466" y="2138048"/>
            <a:ext cx="4965190" cy="338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4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0&quot;/&gt;&lt;/m_yearfmt&gt;&lt;/m_precDefaultMonth&gt;&lt;m_precDefaultWeek&gt;&lt;m_bNumberIsYear val=&quot;0&quot;/&gt;&lt;m_strFormatTime&gt;%1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1.89999999999999991118E+00&quot;&gt;&lt;m_msothmcolidx val=&quot;0&quot;/&gt;&lt;m_rgb r=&quot;F1&quot; g=&quot;0D&quot; b=&quot;01&quot;/&gt;&lt;m_nBrightness val=&quot;0&quot;/&gt;&lt;/elem&gt;&lt;elem m_fUsage=&quot;1.53899999999999992362E+00&quot;&gt;&lt;m_msothmcolidx val=&quot;0&quot;/&gt;&lt;m_rgb r=&quot;EB&quot; g=&quot;69&quot; b=&quot;76&quot;/&gt;&lt;m_nBrightness val=&quot;0&quot;/&gt;&lt;/elem&gt;&lt;elem m_fUsage=&quot;1.24659000000000008690E+00&quot;&gt;&lt;m_msothmcolidx val=&quot;0&quot;/&gt;&lt;m_rgb r=&quot;59&quot; g=&quot;59&quot; b=&quot;59&quot;/&gt;&lt;m_nBrightness val=&quot;0&quot;/&gt;&lt;/elem&gt;&lt;elem m_fUsage=&quot;1.00973789999999996603E+00&quot;&gt;&lt;m_msothmcolidx val=&quot;0&quot;/&gt;&lt;m_rgb r=&quot;91&quot; g=&quot;91&quot; b=&quot;91&quot;/&gt;&lt;m_nBrightness val=&quot;0&quot;/&gt;&lt;/elem&gt;&lt;elem m_fUsage=&quot;8.17887699000000023553E-01&quot;&gt;&lt;m_msothmcolidx val=&quot;0&quot;/&gt;&lt;m_rgb r=&quot;B5&quot; g=&quot;B5&quot; b=&quot;B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HS5H5RQeF2V966U2I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Zbq076QOaBxgFKtXeY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jg7v39Q.CvlUDkXqIL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a6CymbS3alIkpaIuw2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CKeBuCTyG1an0Cn6lN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GxaYpPTXWvG5HXBoxr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W2Yow1Ss6EuIBlick9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7IF8F7RDqQWIyabgCY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BI1SNiTxWx0ejyBztp5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4bcpHTvakp0a7542V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CypELMTlCOc8eHom6d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TtL8pTQ0WsW2tMjLRl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sJq2XQDeZBrzAwSBq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UBz4dToyIz4qvwz9_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IAzfJ1Rj2b.XWpdOI_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Enn6snQGOCdu8fqOBb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sj3RFhSzKQGMYZunUy5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DnvuqISFe1qaK4cWxQ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aK3nISQ2SGrCJdcnN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piFy6BTNaXW5SKvFhL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z1.1OcRGCC7jhv44hM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AnuuqHQhydqtEFU46o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xJKJq5QGunHCukcwpS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djOPfVRjm9qxw3aEND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YLYKlbQGap1ds_tIBI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KRF5UOSP68HdBqduT6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5UzBBpSymLylyFcPBK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UW_JxQTWr502fQIv7hw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E_16zu9.pptx" id="{EA5DF07C-9A47-4398-A9C4-E518C952E464}" vid="{BFC2CD4D-0F9D-44B6-A7A8-5B4C032808A2}"/>
    </a:ext>
  </a:extLst>
</a:theme>
</file>

<file path=ppt/theme/theme2.xml><?xml version="1.0" encoding="utf-8"?>
<a:theme xmlns:a="http://schemas.openxmlformats.org/drawingml/2006/main" name="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63BADC01-3A43-A242-BFBA-ED0B13C564A3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CA4AFBA0335246927947ECDFAF7E9C" ma:contentTypeVersion="2" ma:contentTypeDescription="Create a new document." ma:contentTypeScope="" ma:versionID="eca168fb901d5ad5f130db605abdc92c">
  <xsd:schema xmlns:xsd="http://www.w3.org/2001/XMLSchema" xmlns:xs="http://www.w3.org/2001/XMLSchema" xmlns:p="http://schemas.microsoft.com/office/2006/metadata/properties" xmlns:ns2="8267cf22-868d-43f0-81cb-e54698b2d378" targetNamespace="http://schemas.microsoft.com/office/2006/metadata/properties" ma:root="true" ma:fieldsID="66299c5d7bbd56f4133b85f88d6b16df" ns2:_="">
    <xsd:import namespace="8267cf22-868d-43f0-81cb-e54698b2d378"/>
    <xsd:element name="properties">
      <xsd:complexType>
        <xsd:sequence>
          <xsd:element name="documentManagement">
            <xsd:complexType>
              <xsd:all>
                <xsd:element ref="ns2:Archi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67cf22-868d-43f0-81cb-e54698b2d378" elementFormDefault="qualified">
    <xsd:import namespace="http://schemas.microsoft.com/office/2006/documentManagement/types"/>
    <xsd:import namespace="http://schemas.microsoft.com/office/infopath/2007/PartnerControls"/>
    <xsd:element name="Archive" ma:index="8" nillable="true" ma:displayName="Archive" ma:default="0" ma:description="Where 'Review Due' date is over 12 months a decision should be made whether to archive the file." ma:internalName="Archi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chive xmlns="8267cf22-868d-43f0-81cb-e54698b2d378">false</Archive>
  </documentManagement>
</p:properties>
</file>

<file path=customXml/itemProps1.xml><?xml version="1.0" encoding="utf-8"?>
<ds:datastoreItem xmlns:ds="http://schemas.openxmlformats.org/officeDocument/2006/customXml" ds:itemID="{C524CA7D-24CD-44F0-AAA8-0343D7C9F6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67cf22-868d-43f0-81cb-e54698b2d3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7069E1-17D8-4AE1-B9BB-7A3100C156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02ABDD-37C1-4B8A-8BCD-F11E8F8E4B1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267cf22-868d-43f0-81cb-e54698b2d378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E_16zu9</Template>
  <TotalTime>0</TotalTime>
  <Words>154</Words>
  <Application>Microsoft Office PowerPoint</Application>
  <PresentationFormat>Widescreen</PresentationFormat>
  <Paragraphs>34</Paragraphs>
  <Slides>8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BMW Group</vt:lpstr>
      <vt:lpstr>BMW Group Condensed</vt:lpstr>
      <vt:lpstr>BMW Group Condensed Bold</vt:lpstr>
      <vt:lpstr>BMW Type Global Pro Regular</vt:lpstr>
      <vt:lpstr>Calibri</vt:lpstr>
      <vt:lpstr>IBM Plex Sans SemiBold</vt:lpstr>
      <vt:lpstr>Symbol</vt:lpstr>
      <vt:lpstr>BMW Group 16:9</vt:lpstr>
      <vt:lpstr>blk_background_2017</vt:lpstr>
      <vt:lpstr>think-cell Slide</vt:lpstr>
      <vt:lpstr>PowerPoint Presentation</vt:lpstr>
      <vt:lpstr>agenda</vt:lpstr>
      <vt:lpstr>What is DevOps ?</vt:lpstr>
      <vt:lpstr>IIB CI Demo  </vt:lpstr>
      <vt:lpstr>IIB-deployment-process</vt:lpstr>
      <vt:lpstr>Java-deployment-process</vt:lpstr>
      <vt:lpstr>Mainframe DevOps plan</vt:lpstr>
      <vt:lpstr>OpenStack, Bitbucket, Jenkins etc. BRIEF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ering Committee Slides - December 2018</dc:title>
  <dc:creator>Smith Adam, B1-UK-F-1</dc:creator>
  <cp:lastModifiedBy>Gokarna Mayank, (Mayank.Gokarna@partner.bmw.co.uk)</cp:lastModifiedBy>
  <cp:revision>813</cp:revision>
  <cp:lastPrinted>2019-01-09T15:03:49Z</cp:lastPrinted>
  <dcterms:created xsi:type="dcterms:W3CDTF">2017-05-25T13:55:57Z</dcterms:created>
  <dcterms:modified xsi:type="dcterms:W3CDTF">2019-01-28T15:4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CA4AFBA0335246927947ECDFAF7E9C</vt:lpwstr>
  </property>
</Properties>
</file>